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EDF283F-3E97-4BF9-9F97-F383073B8B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0"/>
              <a:t>Aumente a segurança do operador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pt-BR" altLang="fr-FR" dirty="0"/>
              <a:t>Sistema de extração de CO2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393065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Concentração de CO2 drasticamente reduzida (sem alarme)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Extração de CO2 ao nível do chão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Lâmina de extração de grande abertur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Dispositivo seguro e ergonômico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mbiente mais seguro para operadores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237179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O novo sistema inclui basicamente dois componentes: grupo de extração de CO2 e detector de CO2 (em dois pontos de detecção). Para extrair o CO2 da carga de forma mais eficaz, está previsto contê-lo com proteções de plástico: estas irão separar a carga do espaço externo às portas de proteção, na área mostrada na figura abaixo em amarelo (ao nível do chão) 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Deve-se verificar se a máquina já está equipada com as proteções plásticas de fechamento, caso contrário, devem ser fornecidas para a aplicação da atualização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B535E29-2478-4CF9-9287-2F6A16D4515A}"/>
              </a:ext>
            </a:extLst>
          </p:cNvPr>
          <p:cNvSpPr txBox="1">
            <a:spLocks/>
          </p:cNvSpPr>
          <p:nvPr/>
        </p:nvSpPr>
        <p:spPr bwMode="auto">
          <a:xfrm>
            <a:off x="647700" y="5872632"/>
            <a:ext cx="8401050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Segurança e Ergonomia</a:t>
            </a:r>
          </a:p>
          <a:p>
            <a:pPr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Enchedora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rPr>
              <a:t>RAF-RBS-RBV-REE-REG-REP-REV-RFD-RNF-RSC-RSE-RVE-RMA(SF320)-RMB(SF300)-RME(SF330)</a:t>
            </a:r>
          </a:p>
          <a:p>
            <a:pPr lvl="0" fontAlgn="base">
              <a:spcAft>
                <a:spcPct val="0"/>
              </a:spcAft>
              <a:defRPr/>
            </a:pP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HS128</a:t>
            </a:r>
            <a:endParaRPr kumimoji="0" lang="pt-BR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" name="Rettangolo 1">
            <a:extLst>
              <a:ext uri="{FF2B5EF4-FFF2-40B4-BE49-F238E27FC236}">
                <a16:creationId xmlns:a16="http://schemas.microsoft.com/office/drawing/2014/main" id="{CF7E50EA-592E-48EE-A299-09C7E398A7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9923" y="5125701"/>
            <a:ext cx="1944000" cy="15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lastic guards area in a cans filler</a:t>
            </a:r>
            <a:endParaRPr kumimoji="0" lang="en-US" altLang="en-US" sz="9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grpSp>
        <p:nvGrpSpPr>
          <p:cNvPr id="37" name="Gruppo 4">
            <a:extLst>
              <a:ext uri="{FF2B5EF4-FFF2-40B4-BE49-F238E27FC236}">
                <a16:creationId xmlns:a16="http://schemas.microsoft.com/office/drawing/2014/main" id="{A133F1DF-DA50-44D2-B17E-27C1D87F7040}"/>
              </a:ext>
            </a:extLst>
          </p:cNvPr>
          <p:cNvGrpSpPr>
            <a:grpSpLocks noChangeAspect="1"/>
          </p:cNvGrpSpPr>
          <p:nvPr/>
        </p:nvGrpSpPr>
        <p:grpSpPr>
          <a:xfrm>
            <a:off x="5058030" y="4641299"/>
            <a:ext cx="1182196" cy="1125854"/>
            <a:chOff x="5612167" y="4641448"/>
            <a:chExt cx="1330210" cy="1266814"/>
          </a:xfrm>
        </p:grpSpPr>
        <p:pic>
          <p:nvPicPr>
            <p:cNvPr id="38" name="Immagine 15">
              <a:extLst>
                <a:ext uri="{FF2B5EF4-FFF2-40B4-BE49-F238E27FC236}">
                  <a16:creationId xmlns:a16="http://schemas.microsoft.com/office/drawing/2014/main" id="{8601CBD5-0710-4401-AFFC-45DF6E9408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9383"/>
            <a:stretch>
              <a:fillRect/>
            </a:stretch>
          </p:blipFill>
          <p:spPr bwMode="auto">
            <a:xfrm>
              <a:off x="5612167" y="4641448"/>
              <a:ext cx="1330210" cy="1266814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Figura a mano libera: forma 46">
              <a:extLst>
                <a:ext uri="{FF2B5EF4-FFF2-40B4-BE49-F238E27FC236}">
                  <a16:creationId xmlns:a16="http://schemas.microsoft.com/office/drawing/2014/main" id="{9478D63A-D345-49C7-B22E-51B120A95D00}"/>
                </a:ext>
              </a:extLst>
            </p:cNvPr>
            <p:cNvSpPr/>
            <p:nvPr/>
          </p:nvSpPr>
          <p:spPr>
            <a:xfrm>
              <a:off x="5680013" y="5263176"/>
              <a:ext cx="758531" cy="526079"/>
            </a:xfrm>
            <a:custGeom>
              <a:avLst/>
              <a:gdLst>
                <a:gd name="connsiteX0" fmla="*/ 0 w 1081088"/>
                <a:gd name="connsiteY0" fmla="*/ 0 h 750094"/>
                <a:gd name="connsiteX1" fmla="*/ 2382 w 1081088"/>
                <a:gd name="connsiteY1" fmla="*/ 161925 h 750094"/>
                <a:gd name="connsiteX2" fmla="*/ 1033463 w 1081088"/>
                <a:gd name="connsiteY2" fmla="*/ 750094 h 750094"/>
                <a:gd name="connsiteX3" fmla="*/ 1081088 w 1081088"/>
                <a:gd name="connsiteY3" fmla="*/ 609600 h 750094"/>
                <a:gd name="connsiteX4" fmla="*/ 0 w 1081088"/>
                <a:gd name="connsiteY4" fmla="*/ 0 h 75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088" h="750094">
                  <a:moveTo>
                    <a:pt x="0" y="0"/>
                  </a:moveTo>
                  <a:lnTo>
                    <a:pt x="2382" y="161925"/>
                  </a:lnTo>
                  <a:lnTo>
                    <a:pt x="1033463" y="750094"/>
                  </a:lnTo>
                  <a:lnTo>
                    <a:pt x="1081088" y="60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igura a mano libera: forma 47">
              <a:extLst>
                <a:ext uri="{FF2B5EF4-FFF2-40B4-BE49-F238E27FC236}">
                  <a16:creationId xmlns:a16="http://schemas.microsoft.com/office/drawing/2014/main" id="{FD9DCBB5-5665-4A65-BFC3-F392FBC60B93}"/>
                </a:ext>
              </a:extLst>
            </p:cNvPr>
            <p:cNvSpPr/>
            <p:nvPr/>
          </p:nvSpPr>
          <p:spPr>
            <a:xfrm>
              <a:off x="5975862" y="4997357"/>
              <a:ext cx="696247" cy="184628"/>
            </a:xfrm>
            <a:custGeom>
              <a:avLst/>
              <a:gdLst>
                <a:gd name="connsiteX0" fmla="*/ 0 w 992981"/>
                <a:gd name="connsiteY0" fmla="*/ 47625 h 261938"/>
                <a:gd name="connsiteX1" fmla="*/ 85725 w 992981"/>
                <a:gd name="connsiteY1" fmla="*/ 0 h 261938"/>
                <a:gd name="connsiteX2" fmla="*/ 778668 w 992981"/>
                <a:gd name="connsiteY2" fmla="*/ 54769 h 261938"/>
                <a:gd name="connsiteX3" fmla="*/ 992981 w 992981"/>
                <a:gd name="connsiteY3" fmla="*/ 183357 h 261938"/>
                <a:gd name="connsiteX4" fmla="*/ 945356 w 992981"/>
                <a:gd name="connsiteY4" fmla="*/ 261938 h 261938"/>
                <a:gd name="connsiteX5" fmla="*/ 745331 w 992981"/>
                <a:gd name="connsiteY5" fmla="*/ 152400 h 261938"/>
                <a:gd name="connsiteX6" fmla="*/ 121443 w 992981"/>
                <a:gd name="connsiteY6" fmla="*/ 95250 h 261938"/>
                <a:gd name="connsiteX7" fmla="*/ 33337 w 992981"/>
                <a:gd name="connsiteY7" fmla="*/ 121444 h 261938"/>
                <a:gd name="connsiteX8" fmla="*/ 0 w 992981"/>
                <a:gd name="connsiteY8" fmla="*/ 47625 h 26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2981" h="261938">
                  <a:moveTo>
                    <a:pt x="0" y="47625"/>
                  </a:moveTo>
                  <a:lnTo>
                    <a:pt x="85725" y="0"/>
                  </a:lnTo>
                  <a:lnTo>
                    <a:pt x="778668" y="54769"/>
                  </a:lnTo>
                  <a:lnTo>
                    <a:pt x="992981" y="183357"/>
                  </a:lnTo>
                  <a:lnTo>
                    <a:pt x="945356" y="261938"/>
                  </a:lnTo>
                  <a:lnTo>
                    <a:pt x="745331" y="152400"/>
                  </a:lnTo>
                  <a:lnTo>
                    <a:pt x="121443" y="95250"/>
                  </a:lnTo>
                  <a:lnTo>
                    <a:pt x="33337" y="121444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igura a mano libera: forma 48">
              <a:extLst>
                <a:ext uri="{FF2B5EF4-FFF2-40B4-BE49-F238E27FC236}">
                  <a16:creationId xmlns:a16="http://schemas.microsoft.com/office/drawing/2014/main" id="{ABDEB41A-9C9F-458E-9110-EDC07234D1DB}"/>
                </a:ext>
              </a:extLst>
            </p:cNvPr>
            <p:cNvSpPr/>
            <p:nvPr/>
          </p:nvSpPr>
          <p:spPr>
            <a:xfrm>
              <a:off x="6752188" y="5217576"/>
              <a:ext cx="161271" cy="251361"/>
            </a:xfrm>
            <a:custGeom>
              <a:avLst/>
              <a:gdLst>
                <a:gd name="connsiteX0" fmla="*/ 66675 w 230981"/>
                <a:gd name="connsiteY0" fmla="*/ 357188 h 357188"/>
                <a:gd name="connsiteX1" fmla="*/ 230981 w 230981"/>
                <a:gd name="connsiteY1" fmla="*/ 147638 h 357188"/>
                <a:gd name="connsiteX2" fmla="*/ 226219 w 230981"/>
                <a:gd name="connsiteY2" fmla="*/ 0 h 357188"/>
                <a:gd name="connsiteX3" fmla="*/ 0 w 230981"/>
                <a:gd name="connsiteY3" fmla="*/ 309563 h 357188"/>
                <a:gd name="connsiteX4" fmla="*/ 66675 w 230981"/>
                <a:gd name="connsiteY4" fmla="*/ 357188 h 35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357188">
                  <a:moveTo>
                    <a:pt x="66675" y="357188"/>
                  </a:moveTo>
                  <a:lnTo>
                    <a:pt x="230981" y="147638"/>
                  </a:lnTo>
                  <a:lnTo>
                    <a:pt x="226219" y="0"/>
                  </a:lnTo>
                  <a:lnTo>
                    <a:pt x="0" y="309563"/>
                  </a:lnTo>
                  <a:lnTo>
                    <a:pt x="66675" y="357188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2" name="Connettore 2 51">
            <a:extLst>
              <a:ext uri="{FF2B5EF4-FFF2-40B4-BE49-F238E27FC236}">
                <a16:creationId xmlns:a16="http://schemas.microsoft.com/office/drawing/2014/main" id="{6FEBEEDA-A3BC-4475-BFBB-F5E66762B873}"/>
              </a:ext>
            </a:extLst>
          </p:cNvPr>
          <p:cNvCxnSpPr>
            <a:cxnSpLocks/>
          </p:cNvCxnSpPr>
          <p:nvPr/>
        </p:nvCxnSpPr>
        <p:spPr>
          <a:xfrm flipH="1" flipV="1">
            <a:off x="5950280" y="5039287"/>
            <a:ext cx="629645" cy="17182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ttore 2 53">
            <a:extLst>
              <a:ext uri="{FF2B5EF4-FFF2-40B4-BE49-F238E27FC236}">
                <a16:creationId xmlns:a16="http://schemas.microsoft.com/office/drawing/2014/main" id="{36D0E3B5-830D-4DEA-A331-DA51E4F626AF}"/>
              </a:ext>
            </a:extLst>
          </p:cNvPr>
          <p:cNvCxnSpPr>
            <a:cxnSpLocks/>
            <a:stCxn id="36" idx="1"/>
          </p:cNvCxnSpPr>
          <p:nvPr/>
        </p:nvCxnSpPr>
        <p:spPr>
          <a:xfrm flipH="1">
            <a:off x="5690643" y="5204226"/>
            <a:ext cx="889280" cy="30981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2 56">
            <a:extLst>
              <a:ext uri="{FF2B5EF4-FFF2-40B4-BE49-F238E27FC236}">
                <a16:creationId xmlns:a16="http://schemas.microsoft.com/office/drawing/2014/main" id="{DA8A7930-A28E-4071-86C1-EB3D109CBA3D}"/>
              </a:ext>
            </a:extLst>
          </p:cNvPr>
          <p:cNvCxnSpPr>
            <a:cxnSpLocks/>
          </p:cNvCxnSpPr>
          <p:nvPr/>
        </p:nvCxnSpPr>
        <p:spPr>
          <a:xfrm flipH="1">
            <a:off x="6207383" y="5204226"/>
            <a:ext cx="365396" cy="4143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Immagine 26">
            <a:extLst>
              <a:ext uri="{FF2B5EF4-FFF2-40B4-BE49-F238E27FC236}">
                <a16:creationId xmlns:a16="http://schemas.microsoft.com/office/drawing/2014/main" id="{E679AFA0-8FDD-424A-B09D-8764D0280C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7928" y="4097890"/>
            <a:ext cx="1943117" cy="1515127"/>
          </a:xfrm>
          <a:prstGeom prst="rect">
            <a:avLst/>
          </a:prstGeom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46" name="Immagine 27">
            <a:extLst>
              <a:ext uri="{FF2B5EF4-FFF2-40B4-BE49-F238E27FC236}">
                <a16:creationId xmlns:a16="http://schemas.microsoft.com/office/drawing/2014/main" id="{E23AEEF0-7C76-4DE6-A623-F82274F5A79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7677" y="4026647"/>
            <a:ext cx="471435" cy="1076538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47" name="Connettore 2 28">
            <a:extLst>
              <a:ext uri="{FF2B5EF4-FFF2-40B4-BE49-F238E27FC236}">
                <a16:creationId xmlns:a16="http://schemas.microsoft.com/office/drawing/2014/main" id="{BFBC8954-8EE4-4B7A-905C-108274ADA01A}"/>
              </a:ext>
            </a:extLst>
          </p:cNvPr>
          <p:cNvCxnSpPr>
            <a:cxnSpLocks/>
          </p:cNvCxnSpPr>
          <p:nvPr/>
        </p:nvCxnSpPr>
        <p:spPr>
          <a:xfrm>
            <a:off x="3243486" y="4385770"/>
            <a:ext cx="654331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Immagine 29">
            <a:extLst>
              <a:ext uri="{FF2B5EF4-FFF2-40B4-BE49-F238E27FC236}">
                <a16:creationId xmlns:a16="http://schemas.microsoft.com/office/drawing/2014/main" id="{BFC46D74-0F3D-469A-86C6-930179706C9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8552" y="4572126"/>
            <a:ext cx="327199" cy="837307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49" name="Connettore 2 30">
            <a:extLst>
              <a:ext uri="{FF2B5EF4-FFF2-40B4-BE49-F238E27FC236}">
                <a16:creationId xmlns:a16="http://schemas.microsoft.com/office/drawing/2014/main" id="{38FFC5FB-F776-4827-81E8-3DE04084E19E}"/>
              </a:ext>
            </a:extLst>
          </p:cNvPr>
          <p:cNvCxnSpPr>
            <a:cxnSpLocks/>
          </p:cNvCxnSpPr>
          <p:nvPr/>
        </p:nvCxnSpPr>
        <p:spPr>
          <a:xfrm>
            <a:off x="3010786" y="4694341"/>
            <a:ext cx="162637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2 31">
            <a:extLst>
              <a:ext uri="{FF2B5EF4-FFF2-40B4-BE49-F238E27FC236}">
                <a16:creationId xmlns:a16="http://schemas.microsoft.com/office/drawing/2014/main" id="{77AAA05B-3E2B-4FCD-918E-D44A996BDFF4}"/>
              </a:ext>
            </a:extLst>
          </p:cNvPr>
          <p:cNvCxnSpPr>
            <a:cxnSpLocks/>
          </p:cNvCxnSpPr>
          <p:nvPr/>
        </p:nvCxnSpPr>
        <p:spPr>
          <a:xfrm>
            <a:off x="3244632" y="4711043"/>
            <a:ext cx="226813" cy="10373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Immagine 32">
            <a:extLst>
              <a:ext uri="{FF2B5EF4-FFF2-40B4-BE49-F238E27FC236}">
                <a16:creationId xmlns:a16="http://schemas.microsoft.com/office/drawing/2014/main" id="{829709B6-6928-47E5-B9CF-801655FB5B4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897" y="4572126"/>
            <a:ext cx="352248" cy="837307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52" name="Connettore 2 33">
            <a:extLst>
              <a:ext uri="{FF2B5EF4-FFF2-40B4-BE49-F238E27FC236}">
                <a16:creationId xmlns:a16="http://schemas.microsoft.com/office/drawing/2014/main" id="{F3AA37EB-1E50-46FF-8F2F-5440F05FCCD4}"/>
              </a:ext>
            </a:extLst>
          </p:cNvPr>
          <p:cNvCxnSpPr>
            <a:cxnSpLocks/>
          </p:cNvCxnSpPr>
          <p:nvPr/>
        </p:nvCxnSpPr>
        <p:spPr>
          <a:xfrm flipH="1" flipV="1">
            <a:off x="1165513" y="5322030"/>
            <a:ext cx="403516" cy="1863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tangolo 12">
            <a:extLst>
              <a:ext uri="{FF2B5EF4-FFF2-40B4-BE49-F238E27FC236}">
                <a16:creationId xmlns:a16="http://schemas.microsoft.com/office/drawing/2014/main" id="{98978F16-431C-4948-B72A-FB60356E9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8249" y="4373651"/>
            <a:ext cx="854969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xtraction point</a:t>
            </a:r>
            <a:endParaRPr kumimoji="0" lang="it-IT" altLang="it-IT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4" name="Rettangolo 16">
            <a:extLst>
              <a:ext uri="{FF2B5EF4-FFF2-40B4-BE49-F238E27FC236}">
                <a16:creationId xmlns:a16="http://schemas.microsoft.com/office/drawing/2014/main" id="{592B6B14-FC25-44D8-AB49-AAF065807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8186" y="4586594"/>
            <a:ext cx="710697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</a:t>
            </a:r>
            <a:endParaRPr kumimoji="0" lang="it-IT" altLang="it-IT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5" name="Rettangolo 20">
            <a:extLst>
              <a:ext uri="{FF2B5EF4-FFF2-40B4-BE49-F238E27FC236}">
                <a16:creationId xmlns:a16="http://schemas.microsoft.com/office/drawing/2014/main" id="{E8033C85-844F-4AFE-9A94-7ED993534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521" y="5430067"/>
            <a:ext cx="739552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(first point)</a:t>
            </a:r>
          </a:p>
        </p:txBody>
      </p:sp>
      <p:sp>
        <p:nvSpPr>
          <p:cNvPr id="56" name="Rettangolo 16">
            <a:extLst>
              <a:ext uri="{FF2B5EF4-FFF2-40B4-BE49-F238E27FC236}">
                <a16:creationId xmlns:a16="http://schemas.microsoft.com/office/drawing/2014/main" id="{EA168D84-C5B7-4D29-86E2-3BF9C07AB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049" y="5499916"/>
            <a:ext cx="825551" cy="249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 (second point)</a:t>
            </a:r>
          </a:p>
        </p:txBody>
      </p:sp>
      <p:sp>
        <p:nvSpPr>
          <p:cNvPr id="57" name="Rettangolo 1">
            <a:extLst>
              <a:ext uri="{FF2B5EF4-FFF2-40B4-BE49-F238E27FC236}">
                <a16:creationId xmlns:a16="http://schemas.microsoft.com/office/drawing/2014/main" id="{D7549369-9873-43E3-B6FC-35D6CE4A4E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5486" y="3894139"/>
            <a:ext cx="1728000" cy="12483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xample of layout for a cans filler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58" name="Immagine 2">
            <a:extLst>
              <a:ext uri="{FF2B5EF4-FFF2-40B4-BE49-F238E27FC236}">
                <a16:creationId xmlns:a16="http://schemas.microsoft.com/office/drawing/2014/main" id="{10FA06B1-0630-4B4D-861E-80E55F41C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5292" y="4431484"/>
            <a:ext cx="242637" cy="111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1960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06</TotalTime>
  <Words>200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Aumente a segurança do operad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4-16T11:4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4-16T11:43:43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